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37" r:id="rId2"/>
  </p:sldIdLst>
  <p:sldSz cx="9144000" cy="6858000" type="screen4x3"/>
  <p:notesSz cx="6669088" cy="9820275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3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07" d="100"/>
          <a:sy n="107" d="100"/>
        </p:scale>
        <p:origin x="80" y="1272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09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2/15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80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5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6600"/>
            <a:ext cx="4910138" cy="3683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64631"/>
            <a:ext cx="5335270" cy="4419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78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Objec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12" name="Objec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5">
            <a:extLst>
              <a:ext uri="{FF2B5EF4-FFF2-40B4-BE49-F238E27FC236}">
                <a16:creationId xmlns:a16="http://schemas.microsoft.com/office/drawing/2014/main" id="{CE4DED32-2A5A-48F0-877F-0D9110F11ADA}"/>
              </a:ext>
            </a:extLst>
          </p:cNvPr>
          <p:cNvSpPr/>
          <p:nvPr/>
        </p:nvSpPr>
        <p:spPr bwMode="auto">
          <a:xfrm>
            <a:off x="1201925" y="2329069"/>
            <a:ext cx="1690430" cy="85869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F1E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sk Li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 </a:t>
            </a:r>
          </a:p>
        </p:txBody>
      </p:sp>
      <p:sp>
        <p:nvSpPr>
          <p:cNvPr id="21" name="Rechteck 6">
            <a:extLst>
              <a:ext uri="{FF2B5EF4-FFF2-40B4-BE49-F238E27FC236}">
                <a16:creationId xmlns:a16="http://schemas.microsoft.com/office/drawing/2014/main" id="{DC2CC2AA-F9BD-4FE3-98EC-9E6300D637BE}"/>
              </a:ext>
            </a:extLst>
          </p:cNvPr>
          <p:cNvSpPr/>
          <p:nvPr/>
        </p:nvSpPr>
        <p:spPr bwMode="auto">
          <a:xfrm>
            <a:off x="7062253" y="2329070"/>
            <a:ext cx="1690430" cy="85869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F1E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sk List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3CB793-38FA-4B56-AC83-3C4B47D01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496" y="2425441"/>
            <a:ext cx="1703834" cy="1407483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BFD6AD-C076-4EAC-8319-71D465AE9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496" y="2172939"/>
            <a:ext cx="1703834" cy="257754"/>
          </a:xfrm>
          <a:prstGeom prst="rect">
            <a:avLst/>
          </a:prstGeom>
          <a:solidFill>
            <a:srgbClr val="DDDDDD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Tas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2B62119-EFC5-4201-82F6-A482B72A64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496" y="2430693"/>
            <a:ext cx="1703834" cy="553952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Candidate Group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prstClr val="black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A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ssigne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</p:txBody>
      </p:sp>
      <p:cxnSp>
        <p:nvCxnSpPr>
          <p:cNvPr id="25" name="Gerade Verbindung mit Pfeil 20">
            <a:extLst>
              <a:ext uri="{FF2B5EF4-FFF2-40B4-BE49-F238E27FC236}">
                <a16:creationId xmlns:a16="http://schemas.microsoft.com/office/drawing/2014/main" id="{A282B752-704E-4796-9297-F9D95C50DA90}"/>
              </a:ext>
            </a:extLst>
          </p:cNvPr>
          <p:cNvCxnSpPr/>
          <p:nvPr/>
        </p:nvCxnSpPr>
        <p:spPr>
          <a:xfrm>
            <a:off x="4342445" y="1802771"/>
            <a:ext cx="0" cy="292515"/>
          </a:xfrm>
          <a:prstGeom prst="straightConnector1">
            <a:avLst/>
          </a:prstGeom>
          <a:noFill/>
          <a:ln w="19050" cap="flat" cmpd="sng" algn="ctr">
            <a:solidFill>
              <a:srgbClr val="FF1E00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26" name="Gerade Verbindung mit Pfeil 23">
            <a:extLst>
              <a:ext uri="{FF2B5EF4-FFF2-40B4-BE49-F238E27FC236}">
                <a16:creationId xmlns:a16="http://schemas.microsoft.com/office/drawing/2014/main" id="{7F7BD49D-5AD6-456F-88DF-AAE26C319986}"/>
              </a:ext>
            </a:extLst>
          </p:cNvPr>
          <p:cNvCxnSpPr/>
          <p:nvPr/>
        </p:nvCxnSpPr>
        <p:spPr>
          <a:xfrm flipV="1">
            <a:off x="4725238" y="1802771"/>
            <a:ext cx="1342" cy="305238"/>
          </a:xfrm>
          <a:prstGeom prst="straightConnector1">
            <a:avLst/>
          </a:prstGeom>
          <a:noFill/>
          <a:ln w="19050" cap="flat" cmpd="sng" algn="ctr">
            <a:solidFill>
              <a:srgbClr val="FF1E00"/>
            </a:solidFill>
            <a:prstDash val="solid"/>
            <a:miter lim="800000"/>
            <a:tailEnd type="arrow"/>
          </a:ln>
          <a:effectLst/>
        </p:spPr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8987C43C-1517-4478-BCB6-3094F3864C8F}"/>
              </a:ext>
            </a:extLst>
          </p:cNvPr>
          <p:cNvSpPr txBox="1"/>
          <p:nvPr/>
        </p:nvSpPr>
        <p:spPr>
          <a:xfrm>
            <a:off x="3668099" y="1856537"/>
            <a:ext cx="674346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crea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6801188-16B3-484E-A4E3-FAF65C9EB1F0}"/>
              </a:ext>
            </a:extLst>
          </p:cNvPr>
          <p:cNvSpPr txBox="1"/>
          <p:nvPr/>
        </p:nvSpPr>
        <p:spPr>
          <a:xfrm>
            <a:off x="4726580" y="1846267"/>
            <a:ext cx="965960" cy="27699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complete</a:t>
            </a:r>
          </a:p>
        </p:txBody>
      </p:sp>
      <p:cxnSp>
        <p:nvCxnSpPr>
          <p:cNvPr id="29" name="Gerade Verbindung mit Pfeil 19">
            <a:extLst>
              <a:ext uri="{FF2B5EF4-FFF2-40B4-BE49-F238E27FC236}">
                <a16:creationId xmlns:a16="http://schemas.microsoft.com/office/drawing/2014/main" id="{B978AC16-28C6-4ECA-B961-D147578998C9}"/>
              </a:ext>
            </a:extLst>
          </p:cNvPr>
          <p:cNvCxnSpPr/>
          <p:nvPr/>
        </p:nvCxnSpPr>
        <p:spPr>
          <a:xfrm flipH="1">
            <a:off x="3023458" y="2636912"/>
            <a:ext cx="761777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" name="Gerade Verbindung mit Pfeil 28">
            <a:extLst>
              <a:ext uri="{FF2B5EF4-FFF2-40B4-BE49-F238E27FC236}">
                <a16:creationId xmlns:a16="http://schemas.microsoft.com/office/drawing/2014/main" id="{6DBF9ED1-5381-4987-9D85-D913675AB50B}"/>
              </a:ext>
            </a:extLst>
          </p:cNvPr>
          <p:cNvCxnSpPr/>
          <p:nvPr/>
        </p:nvCxnSpPr>
        <p:spPr>
          <a:xfrm flipH="1">
            <a:off x="5209560" y="2846477"/>
            <a:ext cx="1703777" cy="40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triangle"/>
            <a:tailEnd type="none"/>
          </a:ln>
          <a:effectLst/>
        </p:spPr>
      </p:cxnSp>
      <p:sp>
        <p:nvSpPr>
          <p:cNvPr id="31" name="Freihandform 31">
            <a:extLst>
              <a:ext uri="{FF2B5EF4-FFF2-40B4-BE49-F238E27FC236}">
                <a16:creationId xmlns:a16="http://schemas.microsoft.com/office/drawing/2014/main" id="{0A65F40E-CBB7-46FA-BA47-6AFE69A4EA4A}"/>
              </a:ext>
            </a:extLst>
          </p:cNvPr>
          <p:cNvSpPr/>
          <p:nvPr/>
        </p:nvSpPr>
        <p:spPr bwMode="auto">
          <a:xfrm rot="21431381">
            <a:off x="1906454" y="3179969"/>
            <a:ext cx="5736778" cy="1117178"/>
          </a:xfrm>
          <a:custGeom>
            <a:avLst/>
            <a:gdLst>
              <a:gd name="connsiteX0" fmla="*/ 0 w 6081823"/>
              <a:gd name="connsiteY0" fmla="*/ 0 h 1703798"/>
              <a:gd name="connsiteX1" fmla="*/ 3104707 w 6081823"/>
              <a:gd name="connsiteY1" fmla="*/ 1701209 h 1703798"/>
              <a:gd name="connsiteX2" fmla="*/ 6081823 w 6081823"/>
              <a:gd name="connsiteY2" fmla="*/ 308344 h 170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81823" h="1703798">
                <a:moveTo>
                  <a:pt x="0" y="0"/>
                </a:moveTo>
                <a:cubicBezTo>
                  <a:pt x="1045535" y="824909"/>
                  <a:pt x="2091070" y="1649818"/>
                  <a:pt x="3104707" y="1701209"/>
                </a:cubicBezTo>
                <a:cubicBezTo>
                  <a:pt x="4118344" y="1752600"/>
                  <a:pt x="5100083" y="1030472"/>
                  <a:pt x="6081823" y="308344"/>
                </a:cubicBezTo>
              </a:path>
            </a:pathLst>
          </a:custGeom>
          <a:noFill/>
          <a:ln w="19050" cap="flat" cmpd="sng" algn="ctr">
            <a:solidFill>
              <a:srgbClr val="A5A5A5"/>
            </a:solidFill>
            <a:prstDash val="solid"/>
            <a:miter lim="800000"/>
            <a:tailEnd type="triangl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feld 33">
            <a:extLst>
              <a:ext uri="{FF2B5EF4-FFF2-40B4-BE49-F238E27FC236}">
                <a16:creationId xmlns:a16="http://schemas.microsoft.com/office/drawing/2014/main" id="{646F2B2E-2359-4B59-ADFF-91BC8C99BB68}"/>
              </a:ext>
            </a:extLst>
          </p:cNvPr>
          <p:cNvSpPr txBox="1"/>
          <p:nvPr/>
        </p:nvSpPr>
        <p:spPr>
          <a:xfrm>
            <a:off x="4780891" y="4283223"/>
            <a:ext cx="965960" cy="30777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Arial"/>
              </a:rPr>
              <a:t>claim</a:t>
            </a:r>
          </a:p>
        </p:txBody>
      </p:sp>
      <p:pic>
        <p:nvPicPr>
          <p:cNvPr id="34" name="Grafik 13">
            <a:extLst>
              <a:ext uri="{FF2B5EF4-FFF2-40B4-BE49-F238E27FC236}">
                <a16:creationId xmlns:a16="http://schemas.microsoft.com/office/drawing/2014/main" id="{9BBD1D72-D8A7-471F-98E7-4E8BF0BCAC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2722" y="561429"/>
            <a:ext cx="2195346" cy="1252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85449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4" grpId="0" animBg="1"/>
      <p:bldP spid="31" grpId="0" animBg="1"/>
      <p:bldP spid="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13</Words>
  <Application>Microsoft Office PowerPoint</Application>
  <PresentationFormat>On-screen Show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field-architecture</dc:title>
  <dc:creator>ruecker</dc:creator>
  <cp:lastModifiedBy>Bernd Ruecker</cp:lastModifiedBy>
  <cp:revision>71</cp:revision>
  <cp:lastPrinted>2014-04-11T14:27:50Z</cp:lastPrinted>
  <dcterms:created xsi:type="dcterms:W3CDTF">2014-04-10T14:40:40Z</dcterms:created>
  <dcterms:modified xsi:type="dcterms:W3CDTF">2022-02-15T10:04:06Z</dcterms:modified>
</cp:coreProperties>
</file>